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78" r:id="rId6"/>
    <p:sldId id="257" r:id="rId7"/>
    <p:sldId id="260" r:id="rId8"/>
    <p:sldId id="261" r:id="rId9"/>
    <p:sldId id="262" r:id="rId10"/>
    <p:sldId id="263" r:id="rId11"/>
    <p:sldId id="264" r:id="rId12"/>
    <p:sldId id="265" r:id="rId13"/>
    <p:sldId id="276" r:id="rId14"/>
    <p:sldId id="272" r:id="rId15"/>
    <p:sldId id="273" r:id="rId16"/>
    <p:sldId id="275" r:id="rId17"/>
    <p:sldId id="271" r:id="rId18"/>
    <p:sldId id="279" r:id="rId19"/>
    <p:sldId id="274" r:id="rId20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09BB"/>
    <a:srgbClr val="FFFFFF"/>
    <a:srgbClr val="AAC9FF"/>
    <a:srgbClr val="000000"/>
    <a:srgbClr val="080808"/>
    <a:srgbClr val="CBCBCB"/>
    <a:srgbClr val="CDCDCD"/>
    <a:srgbClr val="969696"/>
    <a:srgbClr val="7D7D7D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Világos stílus 1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48" autoAdjust="0"/>
    <p:restoredTop sz="90651" autoAdjust="0"/>
  </p:normalViewPr>
  <p:slideViewPr>
    <p:cSldViewPr snapToGrid="0" snapToObjects="1" showGuides="1">
      <p:cViewPr varScale="1">
        <p:scale>
          <a:sx n="92" d="100"/>
          <a:sy n="92" d="100"/>
        </p:scale>
        <p:origin x="-1650" y="-102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6576"/>
    </p:cViewPr>
  </p:sorterViewPr>
  <p:notesViewPr>
    <p:cSldViewPr snapToGrid="0" snapToObjects="1">
      <p:cViewPr varScale="1">
        <p:scale>
          <a:sx n="85" d="100"/>
          <a:sy n="85" d="100"/>
        </p:scale>
        <p:origin x="3936" y="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51098" y="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1E7F73-E6E1-4A03-840F-DBDA7848C3AC}" type="datetimeFigureOut">
              <a:rPr lang="hu-HU" smtClean="0"/>
              <a:t>2016.05.24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51098" y="942975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0F8F4A-FEE6-40AF-94C0-ACB82578A7E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906450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24.05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OTP_Ingatlanpont_Boxlogo_CM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000" y="161215"/>
            <a:ext cx="2484000" cy="54481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dirty="0" smtClean="0"/>
              <a:t>Cím beírásához kattintson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5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017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550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0CA0BB-EFD8-457B-89A0-E0ACDD0C770C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0592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um 1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84712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49" y="1554954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hu-HU" dirty="0" smtClean="0"/>
              <a:t>Beíráshoz kattintson</a:t>
            </a:r>
            <a:endParaRPr lang="de-DE" dirty="0" smtClean="0"/>
          </a:p>
          <a:p>
            <a:pPr lvl="1"/>
            <a:r>
              <a:rPr lang="hu-HU" dirty="0" smtClean="0"/>
              <a:t>Második szint</a:t>
            </a:r>
            <a:endParaRPr lang="de-DE" dirty="0" smtClean="0"/>
          </a:p>
          <a:p>
            <a:pPr lvl="2"/>
            <a:r>
              <a:rPr lang="hu-HU" dirty="0" smtClean="0"/>
              <a:t>Harmadik szint</a:t>
            </a:r>
            <a:endParaRPr lang="de-DE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dirty="0" smtClean="0"/>
              <a:t>Cím beírásához kattintson</a:t>
            </a:r>
            <a:endParaRPr lang="de-DE" dirty="0"/>
          </a:p>
        </p:txBody>
      </p:sp>
      <p:sp>
        <p:nvSpPr>
          <p:cNvPr id="12" name="Dia számának helye 11"/>
          <p:cNvSpPr>
            <a:spLocks noGrp="1"/>
          </p:cNvSpPr>
          <p:nvPr>
            <p:ph type="sldNum" sz="quarter" idx="4"/>
          </p:nvPr>
        </p:nvSpPr>
        <p:spPr>
          <a:xfrm>
            <a:off x="8615544" y="6390054"/>
            <a:ext cx="4107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78EA37-6101-4105-A172-CA23275DDD68}" type="slidenum">
              <a:rPr lang="hu-HU" smtClean="0"/>
              <a:t>‹#›</a:t>
            </a:fld>
            <a:endParaRPr lang="hu-HU"/>
          </a:p>
        </p:txBody>
      </p:sp>
      <p:pic>
        <p:nvPicPr>
          <p:cNvPr id="5" name="Picture 4" descr="OTP_Ingatlanpont_Boxlogo_CM.jp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000" y="161215"/>
            <a:ext cx="2484000" cy="54481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7" r:id="rId4"/>
    <p:sldLayoutId id="2147483656" r:id="rId5"/>
    <p:sldLayoutId id="2147483658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363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75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725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1278082" y="1454727"/>
            <a:ext cx="6400800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káspiaci helyzetkép: </a:t>
            </a:r>
          </a:p>
          <a:p>
            <a:pPr algn="ctr"/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3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SOK-hatás</a:t>
            </a:r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alatt”</a:t>
            </a:r>
            <a:endParaRPr lang="hu-H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561109" y="4229105"/>
            <a:ext cx="315883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AISZ / EUFIM Szeminárium, 2016.05.27.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4831770" y="4229105"/>
            <a:ext cx="379268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Valkó Dávid</a:t>
            </a:r>
          </a:p>
          <a:p>
            <a:pPr algn="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Ingatlanpiaci vezető elemző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550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" t="2197" r="1330" b="2197"/>
          <a:stretch/>
        </p:blipFill>
        <p:spPr bwMode="auto">
          <a:xfrm>
            <a:off x="1585608" y="1361858"/>
            <a:ext cx="5943600" cy="3375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ím 1"/>
          <p:cNvSpPr txBox="1">
            <a:spLocks/>
          </p:cNvSpPr>
          <p:nvPr/>
        </p:nvSpPr>
        <p:spPr>
          <a:xfrm>
            <a:off x="78483" y="194456"/>
            <a:ext cx="65752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TP Ingatlanpont: 2015. I. negyedévéhez képest 17</a:t>
            </a:r>
            <a:r>
              <a:rPr lang="hu-HU" sz="1800" dirty="0" smtClean="0"/>
              <a:t>%, 2015. teljes évhez </a:t>
            </a:r>
            <a:r>
              <a:rPr lang="hu-HU" sz="1800" dirty="0"/>
              <a:t>képest 9</a:t>
            </a:r>
            <a:r>
              <a:rPr lang="hu-HU" sz="1800" dirty="0" smtClean="0"/>
              <a:t>% </a:t>
            </a:r>
            <a:r>
              <a:rPr lang="hu-HU" sz="1800" dirty="0"/>
              <a:t>áremelkedés </a:t>
            </a: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2016. I. negyedévében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1352145" y="5116749"/>
            <a:ext cx="617706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egjelentősebb drágulás: Somogy és Fejér megye (35% felett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udapesti drágulás: 28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udapesti átlagár: 339 ezer Ft/m2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35496" y="6614816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OTP Ingatlanpont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72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ím 1"/>
          <p:cNvSpPr txBox="1">
            <a:spLocks/>
          </p:cNvSpPr>
          <p:nvPr/>
        </p:nvSpPr>
        <p:spPr>
          <a:xfrm>
            <a:off x="78484" y="184728"/>
            <a:ext cx="659469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CSOK könnyítések</a:t>
            </a:r>
            <a:r>
              <a:rPr kumimoji="0" lang="hu-HU" sz="1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és az újlakás-áfa csökkentésének hatásai</a:t>
            </a:r>
            <a:endParaRPr kumimoji="0" lang="hu-HU" sz="18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35496" y="940983"/>
            <a:ext cx="9001000" cy="5693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Áfacsökkentés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hatására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ő az újlakás-kínálat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Az árcsökkenés azonban csak részben jut el a vevőkhöz.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Újlakás árakban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 kínálat felfutásáig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övekedés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várható / látszik. Bő kínálat mellett is a kurrens helyeken nem várható majd árcsökkenés.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Áfavisszatérítés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miatt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ő az önerős házépítési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ktivitás. Emiatt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ő a kereslet a telkek iránt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áremelkedést generálva a szegmensben.</a:t>
            </a:r>
          </a:p>
          <a:p>
            <a:pPr marL="28575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 változások összességében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fehéríthetik a szektor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Jelentősen megemelt </a:t>
            </a:r>
            <a:r>
              <a:rPr lang="hu-HU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CSOK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támogatás miatt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ő a kereslet az új lakások iránt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Főleg a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60 m2 feletti kategóriában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várható nagy élénkülés. Ez a kínálatban – lakásmix – is megjelenik majd!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Újépítésű lakás vásárlásához általában korábbit el kell adni (bár már nem kizáró ok a másik lakástulajdon), így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asznált piacon nőhet a kínálat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SOK utófinanszírozású, így a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ruházóknak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ha tartani szeretnék a versenyt,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aját erőből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vagy bankhitelből kell eljutni a használatba vételi engedélyig. Előnyben a stabil hátterű fejlesztők!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eresletcsökkenés miatt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hátrányba a régebbi községi házak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illetve az eddig az új lakásokat „helyettesítő”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újszerű lakások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erülhetnek.       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262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ím 1"/>
          <p:cNvSpPr txBox="1">
            <a:spLocks/>
          </p:cNvSpPr>
          <p:nvPr/>
        </p:nvSpPr>
        <p:spPr>
          <a:xfrm>
            <a:off x="78484" y="184728"/>
            <a:ext cx="89580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800" dirty="0" smtClean="0"/>
              <a:t>Robbanás előtt a budapesti újlakás-kínálat</a:t>
            </a:r>
            <a:endParaRPr kumimoji="0" lang="hu-HU" sz="18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8" name="Kép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109" y="3341063"/>
            <a:ext cx="5508104" cy="351693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zövegdoboz 8"/>
          <p:cNvSpPr txBox="1"/>
          <p:nvPr/>
        </p:nvSpPr>
        <p:spPr>
          <a:xfrm>
            <a:off x="0" y="676488"/>
            <a:ext cx="9144000" cy="2561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3-hoz képest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ár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valyra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ő kétszeres növekedés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3.170)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építési engedélyekben.</a:t>
            </a:r>
            <a:endParaRPr lang="hu-H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016-ban tavalyhoz képest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ét és félszer több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3.100)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ársasházi lakás épülhet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és már 2017-re is több mint 4.000-ről van infónk.</a:t>
            </a: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valy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ő négyezer eladott új társasházi lakás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2009 előtti szint). Ebből 900-at a XI. kerületben adtak el. </a:t>
            </a: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vorit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kínálatban is a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XI. kerület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600 új lakás 34 társasházban), majd XIII., XIV. és IX. kerületek (400 felett). </a:t>
            </a: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álságban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élbehagyott projektek újjáélednek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Előnyben az a beruházó, aki a válságban nem adta el a telkeit, sőt újakat vásárolt.</a:t>
            </a: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0-200 lakásos beruházások értékesítése pár hónap alatt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az első kapavágás előtt.</a:t>
            </a: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zonnal költözhető eladatlan lakáskészlet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6 éve még 3.800 volt, idén januárban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lig 300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285750" lvl="0" indent="-28575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Árak látványos növekedése: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2015-ben 440 e Ft/m2, 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dén 480 e Ft/m2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2017-ben átlépjük a félmilliós limitet.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5810213" y="5997808"/>
            <a:ext cx="3333788" cy="86177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6. első öt hónapjában 110 új lakásprojekt értékesítése indult el Budapesten, és további kb. 20 nagy beruházás előkészítését jelentették be!</a:t>
            </a:r>
            <a:endParaRPr 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212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1"/>
          <p:cNvSpPr txBox="1">
            <a:spLocks/>
          </p:cNvSpPr>
          <p:nvPr/>
        </p:nvSpPr>
        <p:spPr>
          <a:xfrm>
            <a:off x="78484" y="184728"/>
            <a:ext cx="89580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800" dirty="0" smtClean="0"/>
              <a:t>OTP Ingatlanpont: Vidéken is várják az új lakásokat</a:t>
            </a:r>
            <a:endParaRPr kumimoji="0" lang="hu-HU" sz="18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35496" y="696584"/>
            <a:ext cx="9001000" cy="620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Élénkülő újlakás-kereslet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ugyanakkor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iányzó kínála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/ Vásárlás tervasztalról</a:t>
            </a: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Újrainduló elhalasztott projektek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Miskolc, Pécs, Sopron, Zalaegerszeg, Balaton)</a:t>
            </a: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Önerős családi ház építők és beruházók versenye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 jó telkekért (Győrött már csak az agglomerációban van lehetőség)</a:t>
            </a: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hu-H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ktuális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saládi házas telekárak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ékéscsaba belváros 10-15 ezer Ft/m2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skolc 10-20 ezer Ft/m2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zeged 15-20 ezer Ft/m2-től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brecen, Pécs, Székesfehérvár, Kecskemét akár 30 ezer Ft/m2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Győr, Sopron akár 45 ezer Ft/m2 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" t="3167" r="1205" b="1756"/>
          <a:stretch/>
        </p:blipFill>
        <p:spPr bwMode="auto">
          <a:xfrm>
            <a:off x="5747" y="1974272"/>
            <a:ext cx="4576389" cy="2701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" t="2269" r="1355" b="2053"/>
          <a:stretch/>
        </p:blipFill>
        <p:spPr bwMode="auto">
          <a:xfrm>
            <a:off x="4533653" y="3212807"/>
            <a:ext cx="4610347" cy="2699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171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ím 1"/>
          <p:cNvSpPr txBox="1">
            <a:spLocks/>
          </p:cNvSpPr>
          <p:nvPr/>
        </p:nvSpPr>
        <p:spPr>
          <a:xfrm>
            <a:off x="78484" y="184728"/>
            <a:ext cx="6530134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-3 év távlatában még mindenképpen maradhat az emelkedő tendencia, de… 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35496" y="1095432"/>
            <a:ext cx="9001000" cy="4124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 hagyományosan gyorsan reagáló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befektetési célú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ásárlók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ktivitása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vélhetően lecsengőben van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, de tömeges jelenlétükre továbbra is számítani lehet.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Kb.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-5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%-os banki betéti kamatszint esetén veszítene drasztikusan befektetési célpont voltából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a lakóingatlan-piac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z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emelkedő árak és a mára már stagnálásba (néhol csökkenésbe) váltó bérleti díjak mellet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z ingatlanbefektetéssel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lérhető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hozam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ár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most csökken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kereslet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egyre nagyobb arányát teszik ki a normális élethelyzetből származó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lakásigények indukálta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tranzakciók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. Ezek a vásárlók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árérzékenyebb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csoport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képeznek. </a:t>
            </a:r>
          </a:p>
          <a:p>
            <a:pPr marL="285750" lvl="0" indent="-285750">
              <a:lnSpc>
                <a:spcPts val="24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ndezek együttes bekövetkezése az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árszint konszolidációját vonná maga után. Ugyanakkor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eladók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– hamar hozzászokva a mostani magasabb árakhoz –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nem lennének hajlandók azonnal elfogadni az alacsonyabb árszinte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, tehát a statisztikákban is megmutatkozó árcsökkenés később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övetkezhet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0" y="5626894"/>
            <a:ext cx="7101291" cy="12311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tranzakciószám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ár év alatt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beállhat a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70-190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ezres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zintre. </a:t>
            </a:r>
          </a:p>
          <a:p>
            <a:pPr>
              <a:spcAft>
                <a:spcPts val="600"/>
              </a:spcAft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áremelkedés éves mértéke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ár idén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egyszámjegyűre mérséklődhet, de a pozitív irány még évekig kitarthat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600"/>
              </a:spcAft>
            </a:pP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Évente 25 ezer új lakóingatlanra lehet kereslet a következő időszakban.</a:t>
            </a:r>
            <a:endParaRPr lang="hu-H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56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0CA0BB-EFD8-457B-89A0-E0ACDD0C770C}" type="slidenum">
              <a:rPr lang="hu-HU" smtClean="0"/>
              <a:pPr>
                <a:defRPr/>
              </a:pPr>
              <a:t>15</a:t>
            </a:fld>
            <a:endParaRPr lang="hu-HU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title" idx="4294967295"/>
          </p:nvPr>
        </p:nvSpPr>
        <p:spPr>
          <a:xfrm>
            <a:off x="165696" y="152051"/>
            <a:ext cx="6490285" cy="5539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hu-HU" altLang="hu-HU" sz="1800" dirty="0"/>
              <a:t>A mai helyzet hasonló a </a:t>
            </a:r>
            <a:r>
              <a:rPr lang="hu-HU" altLang="hu-HU" sz="1800" u="sng" dirty="0"/>
              <a:t>90-es évek végéhez</a:t>
            </a:r>
            <a:r>
              <a:rPr lang="hu-HU" altLang="hu-HU" sz="1800" dirty="0"/>
              <a:t>. A felívelés mértéke még kérdéses, </a:t>
            </a:r>
            <a:r>
              <a:rPr lang="hu-HU" altLang="hu-HU" sz="1800" dirty="0" smtClean="0"/>
              <a:t>az </a:t>
            </a:r>
            <a:r>
              <a:rPr lang="hu-HU" altLang="hu-HU" sz="1800" dirty="0"/>
              <a:t>árak emelkedését kell figyelni!</a:t>
            </a:r>
          </a:p>
        </p:txBody>
      </p:sp>
      <p:sp>
        <p:nvSpPr>
          <p:cNvPr id="6" name="Szövegdoboz 8"/>
          <p:cNvSpPr txBox="1">
            <a:spLocks noChangeArrowheads="1"/>
          </p:cNvSpPr>
          <p:nvPr/>
        </p:nvSpPr>
        <p:spPr bwMode="auto">
          <a:xfrm>
            <a:off x="0" y="868474"/>
            <a:ext cx="9144000" cy="5726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4130" tIns="62065" rIns="124130" bIns="62065">
            <a:spAutoFit/>
          </a:bodyPr>
          <a:lstStyle>
            <a:lvl1pPr marL="457200" indent="-457200"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ajdnem egy évtizeddel vagyunk a rendszerváltást követő összeomlás után 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íz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éves ingatlanpiaci lejtmeneten vagyunk túl 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élyben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olajárak, orosz válság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évvel túl vagyunk a költségvetési stabilizáción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. éve tart a </a:t>
            </a: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övekedés </a:t>
            </a:r>
            <a:endParaRPr lang="hu-HU" alt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993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és 1996 között 300 ezer lakást adnak el az önkormányzatok 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sik 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 munkanélküliség, nőnek a reálbérek 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lacsony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hitelfelvétel, alig létező jelzálogpiac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gy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éve emelkednek az ingatlanárak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Keveseket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érdekelt a lakás, mint befektetés, de az orosz válsággal és a BUX esésével a pénzek </a:t>
            </a: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lindulnak</a:t>
            </a:r>
            <a:endParaRPr lang="hu-HU" alt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 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kormányzat ledobja az atombombát: támogatott lakáshitel</a:t>
            </a:r>
          </a:p>
          <a:p>
            <a:pPr eaLnBrk="1" hangingPunct="1">
              <a:lnSpc>
                <a:spcPct val="200000"/>
              </a:lnSpc>
              <a:buFont typeface="Arial" charset="0"/>
              <a:buAutoNum type="arabicPeriod"/>
            </a:pP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akrogazdasági stabilizáció, majd a kedvező hitel visszahozza az élethelyzetből vásárlókat, az orosz válság ide tereli a befektetőket: elindul az áremelkedés majd a lakásépítési </a:t>
            </a:r>
            <a:r>
              <a:rPr lang="hu-HU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oom</a:t>
            </a:r>
            <a:endParaRPr lang="hu-HU" alt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4374934" y="3474494"/>
            <a:ext cx="4769065" cy="1418004"/>
          </a:xfrm>
          <a:prstGeom prst="rect">
            <a:avLst/>
          </a:prstGeom>
          <a:noFill/>
          <a:ln w="25400">
            <a:solidFill>
              <a:srgbClr val="00B050"/>
            </a:solidFill>
          </a:ln>
        </p:spPr>
        <p:txBody>
          <a:bodyPr wrap="square" lIns="124130" tIns="62065" rIns="124130" bIns="62065">
            <a:spAutoFit/>
          </a:bodyPr>
          <a:lstStyle/>
          <a:p>
            <a:pPr marL="465487" indent="-465487">
              <a:defRPr/>
            </a:pP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onlóság PRO</a:t>
            </a:r>
            <a:endParaRPr lang="hu-HU" sz="1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t </a:t>
            </a:r>
            <a:r>
              <a:rPr lang="hu-H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ve tart a lakáspiaci recesszió</a:t>
            </a: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csony </a:t>
            </a:r>
            <a:r>
              <a:rPr lang="hu-H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építési </a:t>
            </a: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jlandóság; </a:t>
            </a:r>
            <a:r>
              <a:rPr lang="hu-H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csóbb venni, mint építeni</a:t>
            </a: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csony </a:t>
            </a:r>
            <a:r>
              <a:rPr lang="hu-H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telfelvétel: nem létező jelzálogpiac</a:t>
            </a:r>
            <a:endParaRPr lang="hu-HU" sz="12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3 </a:t>
            </a:r>
            <a:r>
              <a:rPr lang="hu-H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vvel a költségvetési kiigazítás után</a:t>
            </a: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indult </a:t>
            </a:r>
            <a:r>
              <a:rPr lang="hu-H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övekedés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4374935" y="1361259"/>
            <a:ext cx="4769065" cy="178733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124130" tIns="62065" rIns="124130" bIns="62065">
            <a:spAutoFit/>
          </a:bodyPr>
          <a:lstStyle/>
          <a:p>
            <a:pPr marL="465487" indent="-465487">
              <a:defRPr/>
            </a:pPr>
            <a:r>
              <a:rPr lang="hu-H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onlóság KONTRA</a:t>
            </a:r>
            <a:endParaRPr lang="hu-H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szabb </a:t>
            </a:r>
            <a:r>
              <a:rPr lang="hu-H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emográfia, amit tovább ront  a kivándorlás</a:t>
            </a: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szabb </a:t>
            </a:r>
            <a:r>
              <a:rPr lang="hu-H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kezetű a költségvetési kiigazítás, lassabb lesz a növekedés </a:t>
            </a:r>
          </a:p>
          <a:p>
            <a:pPr marL="620649" indent="-620649">
              <a:buFont typeface="Arial" panose="020B0604020202020204" pitchFamily="34" charset="0"/>
              <a:buChar char="•"/>
              <a:defRPr/>
            </a:pPr>
            <a:r>
              <a:rPr lang="hu-H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?? </a:t>
            </a:r>
            <a:r>
              <a:rPr lang="hu-H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m fizető állomány értékesítése növelheti a túlkínálatot a jövőben, míg 1997-re az önkormányzatok eladták lakásállományuk nagy részét </a:t>
            </a:r>
          </a:p>
        </p:txBody>
      </p:sp>
    </p:spTree>
    <p:extLst>
      <p:ext uri="{BB962C8B-B14F-4D97-AF65-F5344CB8AC3E}">
        <p14:creationId xmlns:p14="http://schemas.microsoft.com/office/powerpoint/2010/main" val="2091422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zövegdoboz 4"/>
          <p:cNvSpPr txBox="1"/>
          <p:nvPr/>
        </p:nvSpPr>
        <p:spPr>
          <a:xfrm>
            <a:off x="1278082" y="2223661"/>
            <a:ext cx="64008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öszönöm a figyelmet!</a:t>
            </a:r>
            <a:endParaRPr lang="hu-H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944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/>
              <a:pPr/>
              <a:t>2</a:t>
            </a:fld>
            <a:endParaRPr lang="hu-HU"/>
          </a:p>
        </p:txBody>
      </p:sp>
      <p:sp>
        <p:nvSpPr>
          <p:cNvPr id="4" name="Rectangle 106"/>
          <p:cNvSpPr txBox="1">
            <a:spLocks noChangeArrowheads="1"/>
          </p:cNvSpPr>
          <p:nvPr/>
        </p:nvSpPr>
        <p:spPr bwMode="auto">
          <a:xfrm>
            <a:off x="112304" y="220792"/>
            <a:ext cx="8560777" cy="276999"/>
          </a:xfrm>
          <a:prstGeom prst="rect">
            <a:avLst/>
          </a:prstGeom>
          <a:extLst/>
        </p:spPr>
        <p:txBody>
          <a:bodyPr vert="horz" lIns="0" tIns="0" rIns="0" bIns="0" rtlCol="0" anchor="t" anchorCtr="0">
            <a:spAutoFit/>
          </a:bodyPr>
          <a:lstStyle>
            <a:lvl1pPr lvl="0">
              <a:spcBef>
                <a:spcPct val="0"/>
              </a:spcBef>
              <a:buNone/>
              <a:defRPr b="1" baseline="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hu-HU" altLang="hu-HU" dirty="0"/>
              <a:t>Hogy néz ki egy ingatlanpiaci forduló?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62253" y="702581"/>
            <a:ext cx="8806961" cy="6120549"/>
          </a:xfrm>
          <a:prstGeom prst="rect">
            <a:avLst/>
          </a:prstGeom>
          <a:noFill/>
        </p:spPr>
        <p:txBody>
          <a:bodyPr lIns="87276" tIns="43638" rIns="87276" bIns="43638">
            <a:spAutoFit/>
          </a:bodyPr>
          <a:lstStyle/>
          <a:p>
            <a:pPr>
              <a:defRPr/>
            </a:pPr>
            <a:r>
              <a:rPr lang="hu-H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A válság: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emberek visszafogják az ingatlanvásárlást és a hitelfelvételt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Esnek az ingatlanárak, vagy érdemben kevésbé nőnek, mint az infláció; olcsóbb venni, mint építeni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Leáll az építőipar, nem éri meg építeni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inél nagyobb a recesszió, annál igazabbak a fentiek</a:t>
            </a:r>
          </a:p>
          <a:p>
            <a:pPr>
              <a:defRPr/>
            </a:pPr>
            <a:r>
              <a:rPr lang="hu-H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Forduló első jele: 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Elindul a gazdasági növekedés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Sokszor exportvezérelt 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 munkanélküliség még magas, csökkennek a reálbérek 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ingatlanár és a hitelfelvétel esik</a:t>
            </a:r>
          </a:p>
          <a:p>
            <a:pPr>
              <a:defRPr/>
            </a:pPr>
            <a:r>
              <a:rPr lang="hu-H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A forduló második jele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 munkanélküliség magasan stabilizálódik, megáll a reálbérek esése 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egjelennek a készpénzes vevők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alacsony árak vs. normalizálódó bérleti díjak miatt racionális befektetni; kijön a matek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 nagy tömeg még távol van</a:t>
            </a:r>
          </a:p>
          <a:p>
            <a:pPr marL="436378" indent="-436378"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ingatlanok ára lassulva esik, majd stabilizálódik</a:t>
            </a:r>
          </a:p>
          <a:p>
            <a:pPr>
              <a:defRPr/>
            </a:pPr>
            <a:r>
              <a:rPr lang="hu-H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Fellendülés indul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Újra nő a tranzakciószám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Emelkednek az árak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Építkezés még kevés van, mert kevés helyen éri meg</a:t>
            </a:r>
          </a:p>
          <a:p>
            <a:pPr>
              <a:defRPr/>
            </a:pPr>
            <a:r>
              <a:rPr lang="hu-H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Érett állapot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egjön a tömeg; „csak le ne maradjak!”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áremelkedés lassul</a:t>
            </a:r>
          </a:p>
          <a:p>
            <a:pPr>
              <a:defRPr/>
            </a:pPr>
            <a:r>
              <a:rPr lang="hu-H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Túlfűtöttség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Jobban megéri építeni, mint használtat venni; rengeteg lakás épül 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indenki hitelt vesz fel</a:t>
            </a:r>
          </a:p>
          <a:p>
            <a:pPr marL="436378" indent="-436378">
              <a:buFont typeface="Arial" pitchFamily="34" charset="0"/>
              <a:buChar char="•"/>
              <a:defRPr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z áremelkedés véget ér</a:t>
            </a:r>
            <a:endParaRPr lang="hu-HU" sz="1400" dirty="0">
              <a:solidFill>
                <a:srgbClr val="32C10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2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9028" y="170943"/>
            <a:ext cx="6592793" cy="553998"/>
          </a:xfrm>
        </p:spPr>
        <p:txBody>
          <a:bodyPr/>
          <a:lstStyle/>
          <a:p>
            <a:pPr lvl="0">
              <a:defRPr/>
            </a:pPr>
            <a:r>
              <a:rPr lang="hu-HU" sz="1800" dirty="0"/>
              <a:t>A már 2014-ben érezhető pozitív elmozdulás után </a:t>
            </a:r>
            <a:r>
              <a:rPr lang="hu-HU" sz="1800" dirty="0" smtClean="0"/>
              <a:t>2015-ben „</a:t>
            </a:r>
            <a:r>
              <a:rPr lang="hu-HU" sz="1800" dirty="0"/>
              <a:t>kilőtt” a </a:t>
            </a:r>
            <a:r>
              <a:rPr lang="hu-HU" sz="1800" dirty="0" smtClean="0"/>
              <a:t>lakáspiac – Meghatározó befektetési célú vételek</a:t>
            </a:r>
            <a:endParaRPr lang="hu-HU" sz="1800" dirty="0"/>
          </a:p>
        </p:txBody>
      </p:sp>
      <p:pic>
        <p:nvPicPr>
          <p:cNvPr id="5" name="Picture 71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0" t="3008" r="1781" b="2982"/>
          <a:stretch/>
        </p:blipFill>
        <p:spPr bwMode="auto">
          <a:xfrm>
            <a:off x="0" y="3660025"/>
            <a:ext cx="4860872" cy="2849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zövegdoboz 6"/>
          <p:cNvSpPr txBox="1"/>
          <p:nvPr/>
        </p:nvSpPr>
        <p:spPr>
          <a:xfrm>
            <a:off x="20116" y="6614816"/>
            <a:ext cx="40460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, KSH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4968241" y="1049482"/>
            <a:ext cx="16835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: +15%</a:t>
            </a:r>
            <a:endParaRPr lang="hu-HU" sz="14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7332531" y="5178721"/>
            <a:ext cx="16835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galom: +30%</a:t>
            </a:r>
            <a:endParaRPr lang="hu-HU" sz="14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4968242" y="5615927"/>
            <a:ext cx="20248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ítési engedély: +30%</a:t>
            </a:r>
            <a:endParaRPr lang="hu-HU" sz="14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5361710" y="6614820"/>
            <a:ext cx="3782312" cy="2462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: Javulás nagyon alacsony bázisról!</a:t>
            </a:r>
            <a:endParaRPr lang="hu-H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" t="1993" r="1229" b="1148"/>
          <a:stretch/>
        </p:blipFill>
        <p:spPr bwMode="auto">
          <a:xfrm>
            <a:off x="0" y="883228"/>
            <a:ext cx="4860873" cy="272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0" t="1548" r="1970" b="3140"/>
          <a:stretch/>
        </p:blipFill>
        <p:spPr bwMode="auto">
          <a:xfrm>
            <a:off x="4860873" y="2337592"/>
            <a:ext cx="4283150" cy="266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785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ím 1"/>
          <p:cNvSpPr txBox="1">
            <a:spLocks/>
          </p:cNvSpPr>
          <p:nvPr/>
        </p:nvSpPr>
        <p:spPr>
          <a:xfrm>
            <a:off x="78484" y="184728"/>
            <a:ext cx="647818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z átlagár tavaly már minden jogállásban és minden ingatlantípus esetében nőtt; ez idén is folytatódik 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7195054" y="3365778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-100" y="4394045"/>
            <a:ext cx="3327401" cy="246221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kótelepi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„reneszánsz”:</a:t>
            </a:r>
          </a:p>
          <a:p>
            <a:pPr marL="285750" indent="-285750">
              <a:buFontTx/>
              <a:buChar char="-"/>
            </a:pPr>
            <a:r>
              <a:rPr lang="hu-H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p-n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18% drágulás (20% felett az olcsóbb kerületekben: XV., XIX., X., IV.)</a:t>
            </a:r>
          </a:p>
          <a:p>
            <a:pPr marL="285750" indent="-285750">
              <a:buFontTx/>
              <a:buChar char="-"/>
            </a:pP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XI. kerület: 265 ezer Ft/m2 átlag</a:t>
            </a:r>
          </a:p>
          <a:p>
            <a:pPr marL="285750" indent="-285750">
              <a:buFontTx/>
              <a:buChar char="-"/>
            </a:pP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Kínálati árban akár 600 ezer Ft/m2, eladási csúcsok 500 ezer Ft/m2 körül (XI. Lágymányosi lakótelep) </a:t>
            </a:r>
          </a:p>
          <a:p>
            <a:pPr marL="285750" indent="-285750">
              <a:buFontTx/>
              <a:buChar char="-"/>
            </a:pP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 győri lakótelepi átlagár (215 ezer Ft/m2) budai kerületekével (III., XXII.) vetekszik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" t="2009" r="738" b="1952"/>
          <a:stretch/>
        </p:blipFill>
        <p:spPr bwMode="auto">
          <a:xfrm>
            <a:off x="-4263" y="913296"/>
            <a:ext cx="5054245" cy="3050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3180" r="697" b="1944"/>
          <a:stretch/>
        </p:blipFill>
        <p:spPr bwMode="auto">
          <a:xfrm>
            <a:off x="3971300" y="3803074"/>
            <a:ext cx="5172633" cy="2927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234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zövegdoboz 7"/>
          <p:cNvSpPr txBox="1"/>
          <p:nvPr/>
        </p:nvSpPr>
        <p:spPr>
          <a:xfrm>
            <a:off x="35496" y="6614816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ím 1"/>
          <p:cNvSpPr txBox="1">
            <a:spLocks/>
          </p:cNvSpPr>
          <p:nvPr/>
        </p:nvSpPr>
        <p:spPr>
          <a:xfrm>
            <a:off x="78484" y="175000"/>
            <a:ext cx="89580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yőr-Moson-Sopron megye vidéki árelőnye egyre nagyobb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5983901" y="5921702"/>
            <a:ext cx="30960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Árcsökkenés egyedül az amúgy is csekély forgalmú, és egyben legolcsóbb Nógrád megyében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7" t="1670" r="1000" b="1612"/>
          <a:stretch/>
        </p:blipFill>
        <p:spPr bwMode="auto">
          <a:xfrm>
            <a:off x="786531" y="924658"/>
            <a:ext cx="7350892" cy="4567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1654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zövegdoboz 7"/>
          <p:cNvSpPr txBox="1"/>
          <p:nvPr/>
        </p:nvSpPr>
        <p:spPr>
          <a:xfrm>
            <a:off x="35496" y="6614816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 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ím 1"/>
          <p:cNvSpPr txBox="1">
            <a:spLocks/>
          </p:cNvSpPr>
          <p:nvPr/>
        </p:nvSpPr>
        <p:spPr>
          <a:xfrm>
            <a:off x="78484" y="175000"/>
            <a:ext cx="658496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</a:t>
            </a:r>
            <a:r>
              <a:rPr kumimoji="0" lang="hu-HU" sz="1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járások </a:t>
            </a:r>
            <a:r>
              <a:rPr kumimoji="0" lang="hu-HU" sz="1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egyedében </a:t>
            </a:r>
            <a:r>
              <a:rPr kumimoji="0" lang="hu-HU" sz="1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sökkent az átlagár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5652121" y="824976"/>
            <a:ext cx="338437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sak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s és H-B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egyében nincsen csökkenő árú járás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% feletti drágulás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4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járásban;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nden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rszágrészb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rszágos átlagár: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27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zer Ft/m2, vidéki átlagár: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56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zer Ft/m2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" t="8572" r="9773" b="8572"/>
          <a:stretch/>
        </p:blipFill>
        <p:spPr>
          <a:xfrm>
            <a:off x="4324" y="680604"/>
            <a:ext cx="5647798" cy="3233584"/>
          </a:xfrm>
          <a:prstGeom prst="rect">
            <a:avLst/>
          </a:prstGeom>
        </p:spPr>
      </p:pic>
      <p:pic>
        <p:nvPicPr>
          <p:cNvPr id="3" name="Kép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5" t="4462" r="9659" b="4048"/>
          <a:stretch/>
        </p:blipFill>
        <p:spPr>
          <a:xfrm>
            <a:off x="3370965" y="3480967"/>
            <a:ext cx="5773035" cy="3381567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4324" y="6173127"/>
            <a:ext cx="4224776" cy="33855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0 járásban csökkent a forgalom 2015-ben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38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zövegdoboz 7"/>
          <p:cNvSpPr txBox="1"/>
          <p:nvPr/>
        </p:nvSpPr>
        <p:spPr>
          <a:xfrm>
            <a:off x="35496" y="6614816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ím 1"/>
          <p:cNvSpPr txBox="1">
            <a:spLocks/>
          </p:cNvSpPr>
          <p:nvPr/>
        </p:nvSpPr>
        <p:spPr>
          <a:xfrm>
            <a:off x="78484" y="175000"/>
            <a:ext cx="89580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9%-os drágulás Székesfehérváron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5973510" y="5908511"/>
            <a:ext cx="30960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Árcsökkenés egyedül az amúgy is csekély forgalmú, és egyben legolcsóbb Salgótarjánban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9" t="1735" r="1097" b="1980"/>
          <a:stretch/>
        </p:blipFill>
        <p:spPr bwMode="auto">
          <a:xfrm>
            <a:off x="685799" y="894512"/>
            <a:ext cx="7403356" cy="4775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1983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zövegdoboz 7"/>
          <p:cNvSpPr txBox="1"/>
          <p:nvPr/>
        </p:nvSpPr>
        <p:spPr>
          <a:xfrm>
            <a:off x="35496" y="6614816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ím 1"/>
          <p:cNvSpPr txBox="1">
            <a:spLocks/>
          </p:cNvSpPr>
          <p:nvPr/>
        </p:nvSpPr>
        <p:spPr>
          <a:xfrm>
            <a:off x="78484" y="175000"/>
            <a:ext cx="89580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udapesten egyedül Soroksáron csökkent </a:t>
            </a:r>
            <a:r>
              <a:rPr kumimoji="0" lang="hu-HU" sz="1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z átlagár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3262746" y="5594319"/>
            <a:ext cx="577375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Átlag feletti áremelkedés a nagy lakótelepek kerületeiben, ill. a befektetési célpont belső kerületekb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nimális árcsökkenés egyedül az amúgy is csekély forgalmú, és egyben legolcsóbb Soroksáron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 t="1713" r="1373" b="2405"/>
          <a:stretch/>
        </p:blipFill>
        <p:spPr bwMode="auto">
          <a:xfrm>
            <a:off x="983959" y="807827"/>
            <a:ext cx="6539060" cy="4406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11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zövegdoboz 7"/>
          <p:cNvSpPr txBox="1"/>
          <p:nvPr/>
        </p:nvSpPr>
        <p:spPr>
          <a:xfrm>
            <a:off x="35496" y="6614816"/>
            <a:ext cx="18137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hu-H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NAV / OTP Értéktérkép</a:t>
            </a:r>
            <a:endParaRPr lang="hu-H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ím 1"/>
          <p:cNvSpPr txBox="1">
            <a:spLocks/>
          </p:cNvSpPr>
          <p:nvPr/>
        </p:nvSpPr>
        <p:spPr>
          <a:xfrm>
            <a:off x="78485" y="175000"/>
            <a:ext cx="657169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0%-ot meghaladó </a:t>
            </a: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rágulás </a:t>
            </a:r>
            <a:r>
              <a:rPr kumimoji="0" lang="hu-H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7 </a:t>
            </a:r>
            <a:r>
              <a:rPr kumimoji="0" lang="hu-HU" sz="18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RSZ-körzetben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4716017" y="793357"/>
            <a:ext cx="432048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Átlag feletti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áremelkedés jellemzően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 nagy lakótelepek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örzeteiben,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ill. a befektetési célpont belső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örzetekb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ndössze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örzetben csökkent az átlagár; ebből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nd pesti. </a:t>
            </a:r>
            <a:endParaRPr lang="hu-H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udapesti átlagár: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96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zer Ft/m2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3" t="4667" r="23295" b="4048"/>
          <a:stretch/>
        </p:blipFill>
        <p:spPr>
          <a:xfrm>
            <a:off x="0" y="910411"/>
            <a:ext cx="4570772" cy="4326607"/>
          </a:xfrm>
          <a:prstGeom prst="rect">
            <a:avLst/>
          </a:prstGeom>
        </p:spPr>
      </p:pic>
      <p:pic>
        <p:nvPicPr>
          <p:cNvPr id="3" name="Kép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5" t="6108" r="24800" b="5697"/>
          <a:stretch/>
        </p:blipFill>
        <p:spPr>
          <a:xfrm>
            <a:off x="4716017" y="2634831"/>
            <a:ext cx="4427983" cy="4223169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4324" y="5923743"/>
            <a:ext cx="3715621" cy="584775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supán 15 </a:t>
            </a:r>
            <a:r>
              <a:rPr lang="hu-H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RSZ-körzetben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sökkent a forgalom 2015-ben.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01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Y.%m.%d.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20. egyéni séma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53A31D"/>
      </a:accent1>
      <a:accent2>
        <a:srgbClr val="B2B2B2"/>
      </a:accent2>
      <a:accent3>
        <a:srgbClr val="0070C0"/>
      </a:accent3>
      <a:accent4>
        <a:srgbClr val="808080"/>
      </a:accent4>
      <a:accent5>
        <a:srgbClr val="5F5F5F"/>
      </a:accent5>
      <a:accent6>
        <a:srgbClr val="474747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headEnd/>
          <a:tailEnd/>
        </a:ln>
        <a:effectLst>
          <a:outerShdw dist="20000" dir="2700000" rotWithShape="0">
            <a:srgbClr val="000000">
              <a:alpha val="38000"/>
            </a:srgbClr>
          </a:outerShdw>
        </a:effectLst>
      </a:spPr>
      <a:bodyPr lIns="72000" tIns="72000" rIns="108000" bIns="72000" anchor="t" anchorCtr="0"/>
      <a:lstStyle>
        <a:defPPr marL="171450" indent="-171450" defTabSz="801688" eaLnBrk="0" hangingPunct="0">
          <a:spcAft>
            <a:spcPts val="800"/>
          </a:spcAft>
          <a:buFont typeface="Wingdings" panose="05000000000000000000" pitchFamily="2" charset="2"/>
          <a:buChar char="§"/>
          <a:defRPr sz="1200" dirty="0" err="1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txDef>
      <a:spPr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285750" indent="-285750">
          <a:buFont typeface="Wingdings" panose="05000000000000000000" pitchFamily="2" charset="2"/>
          <a:buChar char="§"/>
          <a:defRPr sz="1200" dirty="0" err="1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96293C0A69F746449D6FBAFC280D4457" ma:contentTypeVersion="0" ma:contentTypeDescription="Új dokumentum létrehozása." ma:contentTypeScope="" ma:versionID="21d823779159dc411636fb6f7c05670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272c3706e31d85aa278778a1025862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D193964-1239-49E1-8F27-A26D893464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C49BC6C-04D9-46BE-B062-F1E306F595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8E00AB-F596-4AC9-BC78-9469D26F724A}">
  <ds:schemaRefs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1775</TotalTime>
  <Words>1437</Words>
  <Application>Microsoft Office PowerPoint</Application>
  <PresentationFormat>Diavetítés a képernyőre (4:3 oldalarány)</PresentationFormat>
  <Paragraphs>147</Paragraphs>
  <Slides>16</Slides>
  <Notes>0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6</vt:i4>
      </vt:variant>
    </vt:vector>
  </HeadingPairs>
  <TitlesOfParts>
    <vt:vector size="18" baseType="lpstr">
      <vt:lpstr>Larissa-Design</vt:lpstr>
      <vt:lpstr>think-cell Slide</vt:lpstr>
      <vt:lpstr>PowerPoint bemutató</vt:lpstr>
      <vt:lpstr>PowerPoint bemutató</vt:lpstr>
      <vt:lpstr>A már 2014-ben érezhető pozitív elmozdulás után 2015-ben „kilőtt” a lakáspiac – Meghatározó befektetési célú vételek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A mai helyzet hasonló a 90-es évek végéhez. A felívelés mértéke még kérdéses, az árak emelkedését kell figyelni!</vt:lpstr>
      <vt:lpstr>PowerPoint bemutató</vt:lpstr>
    </vt:vector>
  </TitlesOfParts>
  <Company>Inscale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2530 Marketing Toolbox</dc:title>
  <dc:creator>PresentationLoad</dc:creator>
  <dc:description>Professional PowerPoint Templates for download</dc:description>
  <cp:lastModifiedBy>Valkó Dávid</cp:lastModifiedBy>
  <cp:revision>1096</cp:revision>
  <cp:lastPrinted>2015-04-17T12:55:34Z</cp:lastPrinted>
  <dcterms:created xsi:type="dcterms:W3CDTF">2010-05-21T10:35:54Z</dcterms:created>
  <dcterms:modified xsi:type="dcterms:W3CDTF">2016-05-24T12:0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293C0A69F746449D6FBAFC280D4457</vt:lpwstr>
  </property>
</Properties>
</file>